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332" r:id="rId2"/>
    <p:sldId id="2333" r:id="rId3"/>
    <p:sldId id="2334" r:id="rId4"/>
  </p:sldIdLst>
  <p:sldSz cx="12192000" cy="6858000"/>
  <p:notesSz cx="6858000" cy="9144000"/>
  <p:custDataLst>
    <p:tags r:id="rId5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00000"/>
    <a:srgbClr val="4472C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 varScale="1">
        <p:scale>
          <a:sx n="68" d="100"/>
          <a:sy n="68" d="100"/>
        </p:scale>
        <p:origin x="580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4472C4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070-4B09-A3F5-349C6A83B97A}"/>
              </c:ext>
            </c:extLst>
          </c:dPt>
          <c:dPt>
            <c:idx val="9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85D-4210-8188-95336DAD99AB}"/>
              </c:ext>
            </c:extLst>
          </c:dPt>
          <c:dPt>
            <c:idx val="10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6F3E-4C2F-851E-E16922F1D169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Jihočeský kraj</c:v>
                </c:pt>
                <c:pt idx="2">
                  <c:v>Středočeský kraj</c:v>
                </c:pt>
                <c:pt idx="3">
                  <c:v>Jihomoravský kraj</c:v>
                </c:pt>
                <c:pt idx="4">
                  <c:v>Zlínský kraj</c:v>
                </c:pt>
                <c:pt idx="5">
                  <c:v>Liberecký kraj</c:v>
                </c:pt>
                <c:pt idx="6">
                  <c:v>Plzeňský kraj</c:v>
                </c:pt>
                <c:pt idx="7">
                  <c:v>Pardubický kraj</c:v>
                </c:pt>
                <c:pt idx="8">
                  <c:v>Moravskoslezský kraj</c:v>
                </c:pt>
                <c:pt idx="9">
                  <c:v>Královéhradecký kraj</c:v>
                </c:pt>
                <c:pt idx="10">
                  <c:v>ČR</c:v>
                </c:pt>
                <c:pt idx="11">
                  <c:v>Olomoucký kraj</c:v>
                </c:pt>
                <c:pt idx="12">
                  <c:v>Ústecký kraj</c:v>
                </c:pt>
                <c:pt idx="13">
                  <c:v>Karlovarský kraj</c:v>
                </c:pt>
                <c:pt idx="14">
                  <c:v>Hlavní město Praha</c:v>
                </c:pt>
              </c:strCache>
            </c:strRef>
          </c:cat>
          <c:val>
            <c:numRef>
              <c:f>Sheet1!$B$2:$B$16</c:f>
              <c:numCache>
                <c:formatCode>0.0%</c:formatCode>
                <c:ptCount val="15"/>
                <c:pt idx="0">
                  <c:v>0.53535353535300001</c:v>
                </c:pt>
                <c:pt idx="1">
                  <c:v>0.48979591836699998</c:v>
                </c:pt>
                <c:pt idx="2">
                  <c:v>0.487179487179</c:v>
                </c:pt>
                <c:pt idx="3">
                  <c:v>0.38659793814400001</c:v>
                </c:pt>
                <c:pt idx="4">
                  <c:v>0.3828125</c:v>
                </c:pt>
                <c:pt idx="5">
                  <c:v>0.38</c:v>
                </c:pt>
                <c:pt idx="6">
                  <c:v>0.35267857142800002</c:v>
                </c:pt>
                <c:pt idx="7">
                  <c:v>0.34399999999999997</c:v>
                </c:pt>
                <c:pt idx="8">
                  <c:v>0.32665330661300002</c:v>
                </c:pt>
                <c:pt idx="9">
                  <c:v>0.31304347826000001</c:v>
                </c:pt>
                <c:pt idx="10">
                  <c:v>0.31149885583499998</c:v>
                </c:pt>
                <c:pt idx="11">
                  <c:v>0.28499999999999998</c:v>
                </c:pt>
                <c:pt idx="12">
                  <c:v>0.27952755905499999</c:v>
                </c:pt>
                <c:pt idx="13">
                  <c:v>0.20481927710799999</c:v>
                </c:pt>
                <c:pt idx="14">
                  <c:v>0.141401273885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70-4B09-A3F5-349C6A83B9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89766016"/>
        <c:axId val="1491627712"/>
      </c:barChart>
      <c:catAx>
        <c:axId val="12897660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91627712"/>
        <c:crosses val="autoZero"/>
        <c:auto val="1"/>
        <c:lblAlgn val="ctr"/>
        <c:lblOffset val="100"/>
        <c:noMultiLvlLbl val="0"/>
      </c:catAx>
      <c:valAx>
        <c:axId val="1491627712"/>
        <c:scaling>
          <c:orientation val="minMax"/>
        </c:scaling>
        <c:delete val="0"/>
        <c:axPos val="t"/>
        <c:numFmt formatCode="0.0%" sourceLinked="1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89766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070-4B09-A3F5-349C6A83B97A}"/>
              </c:ext>
            </c:extLst>
          </c:dPt>
          <c:dPt>
            <c:idx val="9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187C-4B26-A62C-8D83AD58094A}"/>
              </c:ext>
            </c:extLst>
          </c:dPt>
          <c:dPt>
            <c:idx val="10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FCE1-4AF3-80BE-A9790668EFA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Zlínský kraj</c:v>
                </c:pt>
                <c:pt idx="2">
                  <c:v>Jihomoravský kraj</c:v>
                </c:pt>
                <c:pt idx="3">
                  <c:v>Středočeský kraj</c:v>
                </c:pt>
                <c:pt idx="4">
                  <c:v>Jihočeský kraj</c:v>
                </c:pt>
                <c:pt idx="5">
                  <c:v>Ústecký kraj</c:v>
                </c:pt>
                <c:pt idx="6">
                  <c:v>Olomoucký kraj</c:v>
                </c:pt>
                <c:pt idx="7">
                  <c:v>Plzeňský kraj</c:v>
                </c:pt>
                <c:pt idx="8">
                  <c:v>Liberecký kraj</c:v>
                </c:pt>
                <c:pt idx="9">
                  <c:v>Moravskoslezský kraj</c:v>
                </c:pt>
                <c:pt idx="10">
                  <c:v>ČR</c:v>
                </c:pt>
                <c:pt idx="11">
                  <c:v>Královéhradecký kraj</c:v>
                </c:pt>
                <c:pt idx="12">
                  <c:v>Pardubický kraj</c:v>
                </c:pt>
                <c:pt idx="13">
                  <c:v>Karlovarský kraj</c:v>
                </c:pt>
                <c:pt idx="14">
                  <c:v>Hlavní město Praha</c:v>
                </c:pt>
              </c:strCache>
            </c:strRef>
          </c:cat>
          <c:val>
            <c:numRef>
              <c:f>Sheet1!$B$2:$B$16</c:f>
              <c:numCache>
                <c:formatCode>0.0%</c:formatCode>
                <c:ptCount val="15"/>
                <c:pt idx="0">
                  <c:v>0.41935483870899998</c:v>
                </c:pt>
                <c:pt idx="1">
                  <c:v>0.40540540540499997</c:v>
                </c:pt>
                <c:pt idx="2">
                  <c:v>0.36945812807799999</c:v>
                </c:pt>
                <c:pt idx="3">
                  <c:v>0.339130434782</c:v>
                </c:pt>
                <c:pt idx="4">
                  <c:v>0.328125</c:v>
                </c:pt>
                <c:pt idx="5">
                  <c:v>0.27826086956500001</c:v>
                </c:pt>
                <c:pt idx="6">
                  <c:v>0.25161290322500002</c:v>
                </c:pt>
                <c:pt idx="7">
                  <c:v>0.24242424242400001</c:v>
                </c:pt>
                <c:pt idx="8">
                  <c:v>0.24050632911299999</c:v>
                </c:pt>
                <c:pt idx="9">
                  <c:v>0.23948220064699999</c:v>
                </c:pt>
                <c:pt idx="10">
                  <c:v>0.23728813559299999</c:v>
                </c:pt>
                <c:pt idx="11">
                  <c:v>0.224</c:v>
                </c:pt>
                <c:pt idx="12">
                  <c:v>0.17543859649099999</c:v>
                </c:pt>
                <c:pt idx="13">
                  <c:v>0.13953488372</c:v>
                </c:pt>
                <c:pt idx="14">
                  <c:v>9.513742071799999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70-4B09-A3F5-349C6A83B9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89766016"/>
        <c:axId val="1491627712"/>
      </c:barChart>
      <c:catAx>
        <c:axId val="12897660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91627712"/>
        <c:crosses val="autoZero"/>
        <c:auto val="1"/>
        <c:lblAlgn val="ctr"/>
        <c:lblOffset val="100"/>
        <c:noMultiLvlLbl val="0"/>
      </c:catAx>
      <c:valAx>
        <c:axId val="1491627712"/>
        <c:scaling>
          <c:orientation val="minMax"/>
        </c:scaling>
        <c:delete val="0"/>
        <c:axPos val="t"/>
        <c:numFmt formatCode="0.0%" sourceLinked="1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89766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4472C4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070-4B09-A3F5-349C6A83B97A}"/>
              </c:ext>
            </c:extLst>
          </c:dPt>
          <c:dPt>
            <c:idx val="7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A811-44C7-A948-2DDACA737B6B}"/>
              </c:ext>
            </c:extLst>
          </c:dPt>
          <c:dPt>
            <c:idx val="8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5B73-42C7-B0A5-249A45A05BD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Liberecký kraj</c:v>
                </c:pt>
                <c:pt idx="2">
                  <c:v>Jihočeský kraj</c:v>
                </c:pt>
                <c:pt idx="3">
                  <c:v>Pardubický kraj</c:v>
                </c:pt>
                <c:pt idx="4">
                  <c:v>Olomoucký kraj</c:v>
                </c:pt>
                <c:pt idx="5">
                  <c:v>Plzeňský kraj</c:v>
                </c:pt>
                <c:pt idx="6">
                  <c:v>Ústecký kraj</c:v>
                </c:pt>
                <c:pt idx="7">
                  <c:v>ČR</c:v>
                </c:pt>
                <c:pt idx="8">
                  <c:v>Jihomoravský kraj</c:v>
                </c:pt>
                <c:pt idx="9">
                  <c:v>Zlínský kraj</c:v>
                </c:pt>
                <c:pt idx="10">
                  <c:v>Středočeský kraj</c:v>
                </c:pt>
                <c:pt idx="11">
                  <c:v>Karlovarský kraj</c:v>
                </c:pt>
                <c:pt idx="12">
                  <c:v>Moravskoslezský kraj</c:v>
                </c:pt>
                <c:pt idx="13">
                  <c:v>Hlavní město Praha</c:v>
                </c:pt>
                <c:pt idx="14">
                  <c:v>Královéhradecký kraj</c:v>
                </c:pt>
              </c:strCache>
            </c:strRef>
          </c:cat>
          <c:val>
            <c:numRef>
              <c:f>Sheet1!$B$2:$B$16</c:f>
              <c:numCache>
                <c:formatCode>0.0%</c:formatCode>
                <c:ptCount val="15"/>
                <c:pt idx="0">
                  <c:v>0.36063708759899998</c:v>
                </c:pt>
                <c:pt idx="1">
                  <c:v>0.33742331288299998</c:v>
                </c:pt>
                <c:pt idx="2">
                  <c:v>0.320073439412</c:v>
                </c:pt>
                <c:pt idx="3">
                  <c:v>0.29658213891899998</c:v>
                </c:pt>
                <c:pt idx="4">
                  <c:v>0.28506493506399999</c:v>
                </c:pt>
                <c:pt idx="5">
                  <c:v>0.27893175074100002</c:v>
                </c:pt>
                <c:pt idx="6">
                  <c:v>0.26598639455700002</c:v>
                </c:pt>
                <c:pt idx="7">
                  <c:v>0.23077593342899999</c:v>
                </c:pt>
                <c:pt idx="8">
                  <c:v>0.223561430793</c:v>
                </c:pt>
                <c:pt idx="9">
                  <c:v>0.21961620469000001</c:v>
                </c:pt>
                <c:pt idx="10">
                  <c:v>0.177242888402</c:v>
                </c:pt>
                <c:pt idx="11">
                  <c:v>0.17703349282200001</c:v>
                </c:pt>
                <c:pt idx="12">
                  <c:v>0.167138810198</c:v>
                </c:pt>
                <c:pt idx="13">
                  <c:v>0.147674055572</c:v>
                </c:pt>
                <c:pt idx="14">
                  <c:v>0.1263776634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70-4B09-A3F5-349C6A83B9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89766016"/>
        <c:axId val="1491627712"/>
      </c:barChart>
      <c:catAx>
        <c:axId val="12897660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91627712"/>
        <c:crosses val="autoZero"/>
        <c:auto val="1"/>
        <c:lblAlgn val="ctr"/>
        <c:lblOffset val="100"/>
        <c:noMultiLvlLbl val="0"/>
      </c:catAx>
      <c:valAx>
        <c:axId val="1491627712"/>
        <c:scaling>
          <c:orientation val="minMax"/>
        </c:scaling>
        <c:delete val="0"/>
        <c:axPos val="t"/>
        <c:numFmt formatCode="0.0%" sourceLinked="1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89766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837149-65B5-40C0-A148-5C0780A20B5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F4BE70A-7F29-4223-A3CA-61E551FDDC9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652B65-704D-45EB-9963-4141CB9053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10.11.2021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C2A396D-ED3C-40A7-A84A-FA6B1A083A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2B84A6-BF36-4830-9DEB-D538717EC5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0341049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83E19C-275D-4815-B111-B9E627F646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F5D1869-CF2C-4605-A2D0-B2FF1A0F3BF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EE69E2-43F9-4A68-9572-EE80CBA787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10.11.2021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AF432D-DBB6-4517-89F4-5AE668AB7B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A92ABC-732F-4E6E-8072-74D75700D7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0407544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25BEF72-EF5B-47ED-B1AF-0C552ABB05F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C9AFF00-5600-43A1-96D3-EFB6CE5BB21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ECF071-93D5-4021-AB20-65709FAA15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10.11.2021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67CEB7-1EA9-4F8B-88BD-B5DF11E7D1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A5EC400-B874-46D9-8A2B-A5C4331957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360998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80234934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40312C-16C5-4EC5-BFB5-CC5C632C0B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729715A-0CFC-4C2E-9068-7DF48BB7AE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F4618D-F07C-4AA8-B8B3-F2AB8B22C4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10.11.2021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A87515-7F99-4E50-8332-483C5E8B4B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D35ACF-FB41-49E3-92DE-4820036A1D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920340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262F51-B53B-457A-A6AF-28D267CF30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8FE44A6-E02C-4130-9FDD-3C159AA625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7BAF497-906E-4C9E-89F1-966198E1FE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10.11.2021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F1F17D-B3E7-445C-8A01-FD1EF60A0A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3DFA466-2841-42D8-BCE2-B1B5CDEDDA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770547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988A46-C80B-4BB2-A239-0C10C84546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87DB0E-EFEB-4E51-A2C8-81905B8A6F1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0E6D96F-ABEB-4929-A377-663E4B12227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1F07FB-D56E-4E33-A81C-905BD0C4C8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10.11.2021</a:t>
            </a:fld>
            <a:endParaRPr lang="cs-CZ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D83F511-1976-4B8E-98FC-0395B51EC5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8DFDC02-60AB-4F63-9D6E-DB9D0B5123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326670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28EAFA-0B56-4B9F-9CCC-4C485BCFE0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EBE7AC3-0A1D-431D-A6D2-6746C564A5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78A6C4D-35C7-4157-9F39-8B684B0EA45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5C5FE6C-9A5C-4C77-AB2B-9D56959A619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A0EE7EE-79CB-4CD9-A2A6-4E1745ECA8F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94F10D9-D330-4D79-838E-8A2FB338CB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10.11.2021</a:t>
            </a:fld>
            <a:endParaRPr lang="cs-CZ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D5BC18B-9753-47A0-A6DE-E4F8F59830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C104369-AB2C-4D6F-BB1F-DCBF27C19B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441608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62A295-0C6A-400D-AC20-90ED7D6D3C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D9328C9-4230-49B1-96AE-6828B2D034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10.11.2021</a:t>
            </a:fld>
            <a:endParaRPr lang="cs-CZ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B4D6FA-768F-46ED-8EE5-68EEDA8A75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CF19649-51CA-447C-92C7-139673C3D6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503921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72D5272-8A1F-47C9-9F72-D750D6193E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10.11.2021</a:t>
            </a:fld>
            <a:endParaRPr lang="cs-CZ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0C24208-EDF0-4AC7-918C-14DBF5269F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FBB15F-958A-489F-8D5E-AE51FF0EB7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034682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FF7104-5F5A-48BF-8F1C-2512FC482B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9FF1B-98C2-4B86-BE1B-CFEB2105E4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E1FFF5D-6844-436F-9EB9-03D03EBA200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C631352-6286-4234-9179-CEE9E16BA7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10.11.2021</a:t>
            </a:fld>
            <a:endParaRPr lang="cs-CZ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D74CF46-A376-42E1-B58C-3FEB8407D3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2730FE8-8F9C-472D-9441-975DA03844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963675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C9CEBF-587F-4FCA-B912-52AA74777D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5089BE9-E83A-4915-8B58-49579A23EDA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490D4A-B1EB-4E0F-B046-C7944091109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043ADA9-083B-49AA-8D2C-520EE4F55C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A3A0F-9B2E-4AAE-BF10-3AD84EB845DD}" type="datetimeFigureOut">
              <a:rPr lang="cs-CZ" smtClean="0"/>
              <a:t>10.11.2021</a:t>
            </a:fld>
            <a:endParaRPr lang="cs-CZ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A4DF203-BE4D-4FBA-9511-DD6B7EB356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BA07A47-AF88-4D6C-B7A4-47B4424D7C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650562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D364EC2-A2EC-4DE5-85B7-53077A78BE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DA035FA-16EA-48E9-A4CF-24D03D0A857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3058C2A-3294-4D93-B6D3-CD4C09A39BB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DA3A0F-9B2E-4AAE-BF10-3AD84EB845DD}" type="datetimeFigureOut">
              <a:rPr lang="cs-CZ" smtClean="0"/>
              <a:t>10.11.2021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B6E0E2-ED72-462D-A571-FDF80829AF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AE22D9-ED75-49B2-874D-6B9FC81E11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F98F3B7-169A-4902-9743-55F496AD09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849666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chart" Target="../charts/chart1.xml"/><Relationship Id="rId4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chart" Target="../charts/chart2.xml"/><Relationship Id="rId4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chart" Target="../charts/chart3.xml"/><Relationship Id="rId4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0565894" cy="576000"/>
          </a:xfrm>
        </p:spPr>
        <p:txBody>
          <a:bodyPr/>
          <a:lstStyle/>
          <a:p>
            <a:r>
              <a:rPr lang="en-US" dirty="0" err="1"/>
              <a:t>Podíl</a:t>
            </a:r>
            <a:r>
              <a:rPr lang="en-US" dirty="0"/>
              <a:t> (%) </a:t>
            </a:r>
            <a:r>
              <a:rPr lang="en-US" dirty="0" err="1"/>
              <a:t>volné</a:t>
            </a:r>
            <a:r>
              <a:rPr lang="en-US" dirty="0"/>
              <a:t> </a:t>
            </a:r>
            <a:r>
              <a:rPr lang="en-US" dirty="0" err="1"/>
              <a:t>aktuálně</a:t>
            </a:r>
            <a:r>
              <a:rPr lang="en-US" dirty="0"/>
              <a:t> </a:t>
            </a:r>
            <a:r>
              <a:rPr lang="en-US" dirty="0" err="1"/>
              <a:t>nahlášené</a:t>
            </a:r>
            <a:r>
              <a:rPr lang="en-US" dirty="0"/>
              <a:t> </a:t>
            </a:r>
            <a:r>
              <a:rPr lang="en-US" dirty="0" err="1"/>
              <a:t>kapacity</a:t>
            </a:r>
            <a:r>
              <a:rPr lang="en-US" dirty="0"/>
              <a:t> JIP</a:t>
            </a:r>
            <a:endParaRPr lang="cs-CZ" dirty="0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FD8EDC8-39AC-4878-B921-4F6635FE7621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3420869"/>
              </p:ext>
            </p:extLst>
          </p:nvPr>
        </p:nvGraphicFramePr>
        <p:xfrm>
          <a:off x="679061" y="1186197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6038F74-6802-471B-A77B-176FE0683DE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040815" y="816865"/>
            <a:ext cx="469211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odíl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(%)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ol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ktuálně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ahláše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apacity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JIP</a:t>
            </a:r>
            <a:endParaRPr lang="cs-CZ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81788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0565894" cy="576000"/>
          </a:xfrm>
        </p:spPr>
        <p:txBody>
          <a:bodyPr/>
          <a:lstStyle/>
          <a:p>
            <a:r>
              <a:rPr lang="en-US" dirty="0" err="1"/>
              <a:t>Podíl</a:t>
            </a:r>
            <a:r>
              <a:rPr lang="en-US" dirty="0"/>
              <a:t> (%) </a:t>
            </a:r>
            <a:r>
              <a:rPr lang="en-US" dirty="0" err="1"/>
              <a:t>volné</a:t>
            </a:r>
            <a:r>
              <a:rPr lang="en-US" dirty="0"/>
              <a:t> </a:t>
            </a:r>
            <a:r>
              <a:rPr lang="en-US" dirty="0" err="1"/>
              <a:t>aktuálně</a:t>
            </a:r>
            <a:r>
              <a:rPr lang="en-US" dirty="0"/>
              <a:t> </a:t>
            </a:r>
            <a:r>
              <a:rPr lang="en-US" dirty="0" err="1"/>
              <a:t>nahlášené</a:t>
            </a:r>
            <a:r>
              <a:rPr lang="en-US" dirty="0"/>
              <a:t> </a:t>
            </a:r>
            <a:r>
              <a:rPr lang="en-US" dirty="0" err="1"/>
              <a:t>kapacity</a:t>
            </a:r>
            <a:r>
              <a:rPr lang="en-US" dirty="0"/>
              <a:t> </a:t>
            </a:r>
            <a:r>
              <a:rPr lang="cs-CZ" dirty="0"/>
              <a:t>UPV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FD8EDC8-39AC-4878-B921-4F6635FE7621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1117040"/>
              </p:ext>
            </p:extLst>
          </p:nvPr>
        </p:nvGraphicFramePr>
        <p:xfrm>
          <a:off x="679061" y="1186197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6038F74-6802-471B-A77B-176FE0683DE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040815" y="816865"/>
            <a:ext cx="472372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odíl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(%)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ol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ktuálně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ahláše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apacity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cs-CZ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UPV</a:t>
            </a:r>
            <a:endParaRPr lang="cs-CZ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57746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10565894" cy="576000"/>
          </a:xfrm>
        </p:spPr>
        <p:txBody>
          <a:bodyPr/>
          <a:lstStyle/>
          <a:p>
            <a:r>
              <a:rPr lang="en-US" dirty="0" err="1"/>
              <a:t>Podíl</a:t>
            </a:r>
            <a:r>
              <a:rPr lang="en-US" dirty="0"/>
              <a:t> (%) </a:t>
            </a:r>
            <a:r>
              <a:rPr lang="en-US" dirty="0" err="1"/>
              <a:t>volné</a:t>
            </a:r>
            <a:r>
              <a:rPr lang="en-US" dirty="0"/>
              <a:t> </a:t>
            </a:r>
            <a:r>
              <a:rPr lang="en-US" dirty="0" err="1"/>
              <a:t>aktuálně</a:t>
            </a:r>
            <a:r>
              <a:rPr lang="en-US" dirty="0"/>
              <a:t> </a:t>
            </a:r>
            <a:r>
              <a:rPr lang="en-US" dirty="0" err="1"/>
              <a:t>nahlášené</a:t>
            </a:r>
            <a:r>
              <a:rPr lang="en-US" dirty="0"/>
              <a:t> </a:t>
            </a:r>
            <a:r>
              <a:rPr lang="en-US" dirty="0" err="1"/>
              <a:t>kapacity</a:t>
            </a:r>
            <a:r>
              <a:rPr lang="en-US" dirty="0"/>
              <a:t> </a:t>
            </a:r>
            <a:r>
              <a:rPr lang="cs-CZ" dirty="0"/>
              <a:t>standartních lůžek s kyslíkem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FD8EDC8-39AC-4878-B921-4F6635FE7621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790073"/>
              </p:ext>
            </p:extLst>
          </p:nvPr>
        </p:nvGraphicFramePr>
        <p:xfrm>
          <a:off x="679061" y="1186197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C6038F74-6802-471B-A77B-176FE0683DE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040815" y="816865"/>
            <a:ext cx="58086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odíl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(%)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ol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ktuálně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ahlášené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apacity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cs-CZ" dirty="0"/>
              <a:t>lůžek s kyslíkem</a:t>
            </a:r>
            <a:endParaRPr lang="cs-CZ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9273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3</TotalTime>
  <Words>47</Words>
  <Application>Microsoft Office PowerPoint</Application>
  <PresentationFormat>Širokoúhlá obrazovka</PresentationFormat>
  <Paragraphs>6</Paragraphs>
  <Slides>3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3</vt:i4>
      </vt:variant>
    </vt:vector>
  </HeadingPairs>
  <TitlesOfParts>
    <vt:vector size="7" baseType="lpstr">
      <vt:lpstr>Arial</vt:lpstr>
      <vt:lpstr>Calibri</vt:lpstr>
      <vt:lpstr>Calibri Light</vt:lpstr>
      <vt:lpstr>Office Theme</vt:lpstr>
      <vt:lpstr>Podíl (%) volné aktuálně nahlášené kapacity JIP</vt:lpstr>
      <vt:lpstr>Podíl (%) volné aktuálně nahlášené kapacity UPV</vt:lpstr>
      <vt:lpstr>Podíl (%) volné aktuálně nahlášené kapacity standartních lůžek s kyslíkem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rkovský Jiří RNDr. Ph.D.</dc:creator>
  <cp:lastModifiedBy>Zouharová Anna Bc.</cp:lastModifiedBy>
  <cp:revision>11</cp:revision>
  <dcterms:created xsi:type="dcterms:W3CDTF">2021-10-29T17:14:18Z</dcterms:created>
  <dcterms:modified xsi:type="dcterms:W3CDTF">2021-11-10T18:30:01Z</dcterms:modified>
</cp:coreProperties>
</file>